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489" r:id="rId4"/>
  </p:sldMasterIdLst>
  <p:notesMasterIdLst>
    <p:notesMasterId r:id="rId9"/>
  </p:notesMasterIdLst>
  <p:handoutMasterIdLst>
    <p:handoutMasterId r:id="rId10"/>
  </p:handoutMasterIdLst>
  <p:sldIdLst>
    <p:sldId id="2141411793" r:id="rId6"/>
    <p:sldId id="2146849824" r:id="rId7"/>
    <p:sldId id="2146850006" r:id="rId8"/>
    <p:sldId id="2146850007" r:id="rId18"/>
  </p:sldIdLst>
  <p:sldSz cx="12192000" cy="6858000"/>
  <p:notesSz cx="6797675" cy="992822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DE13B5-C7C0-4D34-B284-053EDBDC2284}">
          <p14:sldIdLst>
            <p14:sldId id="2146849870"/>
          </p14:sldIdLst>
        </p14:section>
        <p14:section name="Executive Summary" id="{17DA4631-DE44-40CD-B327-F36324B71990}">
          <p14:sldIdLst>
            <p14:sldId id="2141411793"/>
            <p14:sldId id="2146849824"/>
            <p14:sldId id="2146850006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216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imothy Lim" initials="TL" lastIdx="7" clrIdx="6">
    <p:extLst>
      <p:ext uri="{19B8F6BF-5375-455C-9EA6-DF929625EA0E}">
        <p15:presenceInfo xmlns:p15="http://schemas.microsoft.com/office/powerpoint/2012/main" userId="S::Timothy.Yuan.Xiang.Lim@parthenon.ey.com::642516ca-80aa-4dec-9a9b-e6a47d4a467c" providerId="AD"/>
      </p:ext>
    </p:extLst>
  </p:cmAuthor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2DB757"/>
    <a:srgbClr val="C4C4CD"/>
    <a:srgbClr val="EAF8EE"/>
    <a:srgbClr val="FFE600"/>
    <a:srgbClr val="FFF066"/>
    <a:srgbClr val="C0C0C0"/>
    <a:srgbClr val="F7A59E"/>
    <a:srgbClr val="95CB89"/>
    <a:srgbClr val="FF7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9EEBBC-63AE-48DB-80FF-CEEE2EAF8A57}" v="823" dt="2022-02-14T15:42:22.0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29"/>
    <p:restoredTop sz="94660"/>
  </p:normalViewPr>
  <p:slideViewPr>
    <p:cSldViewPr snapToGrid="0">
      <p:cViewPr varScale="1">
        <p:scale>
          <a:sx n="128" d="100"/>
          <a:sy n="128" d="100"/>
        </p:scale>
        <p:origin x="632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Relationship Id="rId11" Type="http://schemas.openxmlformats.org/officeDocument/2006/relationships/tags" Target="tags/tag1.xml"/><Relationship Id="rId12" Type="http://schemas.openxmlformats.org/officeDocument/2006/relationships/commentAuthors" Target="commentAuthors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7" Type="http://schemas.microsoft.com/office/2015/10/relationships/revisionInfo" Target="revisionInfo.xml"/><Relationship Id="rId18" Type="http://schemas.openxmlformats.org/officeDocument/2006/relationships/slide" Target="slides/slide5.xml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EYInterstate Light" panose="02000506000000020004" pitchFamily="2" charset="0"/>
              </a:rPr>
              <a:pPr/>
              <a:t>03/01/2024</a:t>
            </a:fld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EYInterstate Light" panose="02000506000000020004" pitchFamily="2" charset="0"/>
              </a:rPr>
              <a:pPr/>
              <a:t>‹#›</a:t>
            </a:fld>
            <a:endParaRPr lang="en-GB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8045EBA9-A28D-4849-BFEA-AA04F6A21B63}" type="datetimeFigureOut">
              <a:rPr lang="en-US" smtClean="0">
                <a:latin typeface="EYInterstate Light" panose="02000506000000020004" pitchFamily="2" charset="0"/>
              </a:rPr>
              <a:pPr/>
              <a:t>1/3/24</a:t>
            </a:fld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31" tIns="46315" rIns="92631" bIns="46315" rtlCol="0" anchor="ctr"/>
          <a:lstStyle/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631" tIns="46315" rIns="92631" bIns="463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B43D19E-BFDB-4C92-8EDD-32EDDA8F41DF}" type="slidenum">
              <a:rPr lang="en-US" smtClean="0">
                <a:latin typeface="EYInterstate Light" panose="02000506000000020004" pitchFamily="2" charset="0"/>
              </a:rPr>
              <a:pPr/>
              <a:t>‹#›</a:t>
            </a:fld>
            <a:endParaRPr lang="en-US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US" smtClean="0">
                <a:latin typeface="EYInterstate Light" panose="02000506000000020004" pitchFamily="2" charset="0"/>
              </a:rPr>
              <a:pPr/>
              <a:t>4</a:t>
            </a:fld>
            <a:endParaRPr lang="en-US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000407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tags" Target="../tags/tag5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tags" Target="../tags/tag7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2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tags" Target="../tags/tag12.xml"/><Relationship Id="rId3" Type="http://schemas.openxmlformats.org/officeDocument/2006/relationships/tags" Target="../tags/tag13.xml"/><Relationship Id="rId4" Type="http://schemas.openxmlformats.org/officeDocument/2006/relationships/tags" Target="../tags/tag14.xml"/><Relationship Id="rId5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tags" Target="../tags/tag16.xml"/><Relationship Id="rId3" Type="http://schemas.openxmlformats.org/officeDocument/2006/relationships/tags" Target="../tags/tag17.xml"/><Relationship Id="rId4" Type="http://schemas.openxmlformats.org/officeDocument/2006/relationships/tags" Target="../tags/tag18.xml"/><Relationship Id="rId5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690640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DF815416-0F77-4B8B-86DF-576F9F0B19E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4235942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806365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935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779430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EYP-Draft">
            <a:extLst>
              <a:ext uri="{FF2B5EF4-FFF2-40B4-BE49-F238E27FC236}">
                <a16:creationId xmlns:a16="http://schemas.microsoft.com/office/drawing/2014/main" id="{995A0780-224E-4B06-AC1E-1E2468E7A9B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402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98483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YP-Draft">
            <a:extLst>
              <a:ext uri="{FF2B5EF4-FFF2-40B4-BE49-F238E27FC236}">
                <a16:creationId xmlns:a16="http://schemas.microsoft.com/office/drawing/2014/main" id="{DFBB50F8-AE6D-4FB3-A3F1-E1B70679F31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0133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0B9D64-BBB9-5B98-F1B4-5B52BC3CD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89D5B7-C8B7-FC96-C613-9B66B41DF2B7}"/>
              </a:ext>
            </a:extLst>
          </p:cNvPr>
          <p:cNvSpPr>
            <a:spLocks noGrp="1"/>
          </p:cNvSpPr>
          <p:nvPr userDrawn="1">
            <p:custDataLst>
              <p:tags r:id="rId1"/>
            </p:custDataLst>
          </p:nvPr>
        </p:nvSpPr>
        <p:spPr bwMode="auto">
          <a:xfrm>
            <a:off x="1484313" y="20891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b="1" dirty="0">
                <a:solidFill>
                  <a:srgbClr val="1A9AFA"/>
                </a:solidFill>
              </a:rPr>
              <a:t>X</a:t>
            </a:r>
            <a:endParaRPr lang="en-US" sz="1999" b="1" dirty="0">
              <a:solidFill>
                <a:srgbClr val="1A9AFA"/>
              </a:solidFill>
            </a:endParaRPr>
          </a:p>
        </p:txBody>
      </p:sp>
      <p:sp>
        <p:nvSpPr>
          <p:cNvPr id="4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5C6D7F0E-6964-9921-CCC5-A9C7161DC35F}"/>
              </a:ext>
            </a:extLst>
          </p:cNvPr>
          <p:cNvSpPr>
            <a:spLocks noGrp="1"/>
          </p:cNvSpPr>
          <p:nvPr userDrawn="1">
            <p:custDataLst>
              <p:tags r:id="rId2"/>
            </p:custDataLst>
          </p:nvPr>
        </p:nvSpPr>
        <p:spPr bwMode="auto">
          <a:xfrm>
            <a:off x="1484313" y="24447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5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27488273-966C-A1B1-B849-BEE0E871FBD5}"/>
              </a:ext>
            </a:extLst>
          </p:cNvPr>
          <p:cNvSpPr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484313" y="28511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6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7AEC51D8-D13D-D250-4B12-E6823B46FF91}"/>
              </a:ext>
            </a:extLst>
          </p:cNvPr>
          <p:cNvSpPr>
            <a:spLocks noGrp="1"/>
          </p:cNvSpPr>
          <p:nvPr userDrawn="1">
            <p:custDataLst>
              <p:tags r:id="rId4"/>
            </p:custDataLst>
          </p:nvPr>
        </p:nvSpPr>
        <p:spPr bwMode="auto">
          <a:xfrm>
            <a:off x="1484313" y="32575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sz="1999" dirty="0">
                <a:solidFill>
                  <a:schemeClr val="accent3"/>
                </a:solidFill>
              </a:rPr>
              <a:t>X</a:t>
            </a:r>
          </a:p>
        </p:txBody>
      </p:sp>
      <p:sp>
        <p:nvSpPr>
          <p:cNvPr id="7" name="Double Bracket 6">
            <a:extLst>
              <a:ext uri="{FF2B5EF4-FFF2-40B4-BE49-F238E27FC236}">
                <a16:creationId xmlns:a16="http://schemas.microsoft.com/office/drawing/2014/main" id="{55F7A083-7C0C-60DD-E452-A2CB3951DFF5}"/>
              </a:ext>
            </a:extLst>
          </p:cNvPr>
          <p:cNvSpPr/>
          <p:nvPr userDrawn="1"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59677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0530B-56F6-7C79-3190-FDFE009B8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8DA980-9BE6-C64F-48BE-4F924401F6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9774" y="1301544"/>
            <a:ext cx="914400" cy="3520964"/>
          </a:xfrm>
        </p:spPr>
        <p:txBody>
          <a:bodyPr/>
          <a:lstStyle/>
          <a:p>
            <a:pPr lvl="0"/>
            <a:r>
              <a:rPr lang="en-GB" dirty="0"/>
              <a:t>LAYOUT 1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100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0530B-56F6-7C79-3190-FDFE009B8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8DA980-9BE6-C64F-48BE-4F924401F6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9774" y="1301544"/>
            <a:ext cx="914400" cy="3520964"/>
          </a:xfrm>
        </p:spPr>
        <p:txBody>
          <a:bodyPr/>
          <a:lstStyle/>
          <a:p>
            <a:pPr lvl="0"/>
            <a:r>
              <a:rPr lang="en-GB" dirty="0"/>
              <a:t>LAYOUT 2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707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AB2A592-4BF2-4F41-72ED-221BC2158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</p:spPr>
        <p:txBody>
          <a:bodyPr vert="horz"/>
          <a:lstStyle/>
          <a:p>
            <a:r>
              <a:rPr lang="en-GB"/>
              <a:t>Executive Summar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3750B61-5B10-0E20-839C-40AA9DB79943}"/>
              </a:ext>
            </a:extLst>
          </p:cNvPr>
          <p:cNvGraphicFramePr>
            <a:graphicFrameLocks noGrp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729357"/>
              </p:ext>
            </p:extLst>
          </p:nvPr>
        </p:nvGraphicFramePr>
        <p:xfrm>
          <a:off x="358220" y="1156879"/>
          <a:ext cx="11221006" cy="1709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3599">
                  <a:extLst>
                    <a:ext uri="{9D8B030D-6E8A-4147-A177-3AD203B41FA5}">
                      <a16:colId xmlns:a16="http://schemas.microsoft.com/office/drawing/2014/main" val="1447940172"/>
                    </a:ext>
                  </a:extLst>
                </a:gridCol>
                <a:gridCol w="10617407">
                  <a:extLst>
                    <a:ext uri="{9D8B030D-6E8A-4147-A177-3AD203B41FA5}">
                      <a16:colId xmlns:a16="http://schemas.microsoft.com/office/drawing/2014/main" val="1322676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buFont typeface="+mj-lt"/>
                        <a:buNone/>
                      </a:pP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660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063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4340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45837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370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328130"/>
                  </a:ext>
                </a:extLst>
              </a:tr>
            </a:tbl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ED440F41-1579-3E0A-6857-59B19AEB6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48948" y="1782721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6364132-193A-2F02-F515-D35E571B2B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848948" y="227891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8CEB5E9-3070-574B-BC39-42009B34BE3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848948" y="277275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8" name="sectionheader_637407051814700636" descr="Super Headline">
            <a:extLst>
              <a:ext uri="{FF2B5EF4-FFF2-40B4-BE49-F238E27FC236}">
                <a16:creationId xmlns:a16="http://schemas.microsoft.com/office/drawing/2014/main" id="{3110FBB9-5005-C8D0-5093-CE88BD885A02}"/>
              </a:ext>
            </a:extLst>
          </p:cNvPr>
          <p:cNvSpPr txBox="1"/>
          <p:nvPr userDrawn="1"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2024604421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tags" Target="../tags/tag2.xml"/><Relationship Id="rId11" Type="http://schemas.openxmlformats.org/officeDocument/2006/relationships/tags" Target="../tags/tag3.xml"/><Relationship Id="rId12" Type="http://schemas.openxmlformats.org/officeDocument/2006/relationships/oleObject" Target="../embeddings/oleObject1.bin"/><Relationship Id="rId1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216656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06" imgH="306" progId="TCLayout.ActiveDocument.1">
                  <p:embed/>
                </p:oleObj>
              </mc:Choice>
              <mc:Fallback>
                <p:oleObj name="think-cell Slide" r:id="rId12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GB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7F52D293-2FFA-418E-A6C0-0036FAFECDA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83382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0" r:id="rId1"/>
    <p:sldLayoutId id="2147484491" r:id="rId2"/>
    <p:sldLayoutId id="2147484492" r:id="rId3"/>
    <p:sldLayoutId id="2147484493" r:id="rId4"/>
    <p:sldLayoutId id="2147484494" r:id="rId5"/>
    <p:sldLayoutId id="2147484495" r:id="rId6"/>
    <p:sldLayoutId id="2147484496" r:id="rId7"/>
    <p:sldLayoutId id="2147484497" r:id="rId8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Layout" Target="../slideLayouts/slideLayout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3.emf"/><Relationship Id="rId5" Type="http://schemas.openxmlformats.org/officeDocument/2006/relationships/image" Target="../media/image4.jpe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tags" Target="../tags/tag25.xml"/><Relationship Id="rId7" Type="http://schemas.openxmlformats.org/officeDocument/2006/relationships/tags" Target="../tags/tag26.xml"/><Relationship Id="rId8" Type="http://schemas.openxmlformats.org/officeDocument/2006/relationships/slideLayout" Target="../slideLayouts/slideLayout4.xml"/><Relationship Id="rId9" Type="http://schemas.openxmlformats.org/officeDocument/2006/relationships/oleObject" Target="../embeddings/oleObject7.bin"/><Relationship Id="rId10" Type="http://schemas.openxmlformats.org/officeDocument/2006/relationships/image" Target="../media/image5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tags" Target="../tags/tag28.xml"/><Relationship Id="rId3" Type="http://schemas.openxmlformats.org/officeDocument/2006/relationships/tags" Target="../tags/tag29.xml"/><Relationship Id="rId4" Type="http://schemas.openxmlformats.org/officeDocument/2006/relationships/tags" Target="../tags/tag30.xml"/><Relationship Id="rId5" Type="http://schemas.openxmlformats.org/officeDocument/2006/relationships/tags" Target="../tags/tag31.xml"/><Relationship Id="rId6" Type="http://schemas.openxmlformats.org/officeDocument/2006/relationships/slideLayout" Target="../slideLayouts/slideLayout2.xml"/><Relationship Id="rId7" Type="http://schemas.openxmlformats.org/officeDocument/2006/relationships/oleObject" Target="../embeddings/oleObject8.bin"/><Relationship Id="rId8" Type="http://schemas.openxmlformats.org/officeDocument/2006/relationships/image" Target="../media/image3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B040797-A9EF-4142-87F1-B829E98F97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B040797-A9EF-4142-87F1-B829E98F97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109FC1F-5A69-46A6-9235-0E2DCA24E08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1" t="8828" b="8828"/>
          <a:stretch/>
        </p:blipFill>
        <p:spPr>
          <a:xfrm>
            <a:off x="-44920" y="-12458"/>
            <a:ext cx="12363940" cy="685799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0C97C06-83AC-4011-9A52-B4FDCAF1AA1F}"/>
              </a:ext>
            </a:extLst>
          </p:cNvPr>
          <p:cNvSpPr/>
          <p:nvPr/>
        </p:nvSpPr>
        <p:spPr>
          <a:xfrm>
            <a:off x="-44920" y="243204"/>
            <a:ext cx="12363939" cy="7184571"/>
          </a:xfrm>
          <a:prstGeom prst="rect">
            <a:avLst/>
          </a:prstGeom>
          <a:gradFill flip="none" rotWithShape="1">
            <a:gsLst>
              <a:gs pos="12000">
                <a:srgbClr val="000000">
                  <a:alpha val="48000"/>
                </a:srgbClr>
              </a:gs>
              <a:gs pos="89000">
                <a:srgbClr val="2E2E38">
                  <a:alpha val="72000"/>
                </a:srgbClr>
              </a:gs>
              <a:gs pos="69000">
                <a:srgbClr val="2E2E38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B37594-0AA4-4278-A71C-B32E41E2ED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D141696-DF02-4CE7-A066-711A7F5AA2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9291" y="1780465"/>
            <a:ext cx="3792785" cy="307648"/>
          </a:xfrm>
        </p:spPr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B90F67-E2CC-4665-9E1B-9EB1B2E1A0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94929F-9D4B-4F46-BCE8-24C979603AB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978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58248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4" imgH="304" progId="TCLayout.ActiveDocument.1">
                  <p:embed/>
                </p:oleObj>
              </mc:Choice>
              <mc:Fallback>
                <p:oleObj name="think-cell Slide" r:id="rId9" imgW="304" imgH="30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D6BE17-B99D-45E0-8F89-5D80556697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endParaRPr lang="en-US" sz="1999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tx2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A2D41C2-A7CF-4095-B735-BF644DD21DC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84313" y="20891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b="1" dirty="0">
                <a:solidFill>
                  <a:srgbClr val="1A9AFA"/>
                </a:solidFill>
              </a:rPr>
              <a:t>X</a:t>
            </a:r>
            <a:endParaRPr lang="en-US" sz="1999" b="1" dirty="0">
              <a:solidFill>
                <a:srgbClr val="1A9AFA"/>
              </a:solidFill>
            </a:endParaRPr>
          </a:p>
        </p:txBody>
      </p:sp>
      <p:sp>
        <p:nvSpPr>
          <p:cNvPr id="13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FC4FDA02-14CC-447C-9180-C9BC627F9FE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84313" y="24447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12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8A00423F-B791-4BD4-8156-0C134CD27CB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84313" y="28511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15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39208BD3-80D5-4218-994F-CCD2F4D9832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484313" y="32575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sz="1999" dirty="0">
                <a:solidFill>
                  <a:schemeClr val="accent3"/>
                </a:solidFill>
              </a:rPr>
              <a:t>X</a:t>
            </a:r>
          </a:p>
        </p:txBody>
      </p:sp>
      <p:sp>
        <p:nvSpPr>
          <p:cNvPr id="33" name="Double Bracket 32">
            <a:extLst>
              <a:ext uri="{FF2B5EF4-FFF2-40B4-BE49-F238E27FC236}">
                <a16:creationId xmlns:a16="http://schemas.microsoft.com/office/drawing/2014/main" id="{B2FB60A8-C613-4429-81FB-A4D2C342F324}"/>
              </a:ext>
            </a:extLst>
          </p:cNvPr>
          <p:cNvSpPr/>
          <p:nvPr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84162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85B5A63E-D9C3-4C67-930F-DBA5E6EFC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85B5A63E-D9C3-4C67-930F-DBA5E6EFC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8E36E3-3A69-4ED0-AD28-01C0031F0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Executive Summary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1D45A19-99D6-43D9-987D-81C4BCB992F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349367"/>
              </p:ext>
            </p:extLst>
          </p:nvPr>
        </p:nvGraphicFramePr>
        <p:xfrm>
          <a:off x="358220" y="1156879"/>
          <a:ext cx="11221006" cy="1709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3599">
                  <a:extLst>
                    <a:ext uri="{9D8B030D-6E8A-4147-A177-3AD203B41FA5}">
                      <a16:colId xmlns:a16="http://schemas.microsoft.com/office/drawing/2014/main" val="1447940172"/>
                    </a:ext>
                  </a:extLst>
                </a:gridCol>
                <a:gridCol w="10617407">
                  <a:extLst>
                    <a:ext uri="{9D8B030D-6E8A-4147-A177-3AD203B41FA5}">
                      <a16:colId xmlns:a16="http://schemas.microsoft.com/office/drawing/2014/main" val="1322676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buFont typeface="+mj-lt"/>
                        <a:buNone/>
                      </a:pP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660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063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4340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45837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370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328130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550311E6-C83C-431D-9F9C-5C11EC1DB4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8948" y="1782721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E189936-D133-4414-82D1-7A824FDB68C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8948" y="227891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AC83DF9-EA1D-4276-824E-147A13C32BE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48948" y="277275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5" name="sectionheader_637407051814700636" descr="Super Headline">
            <a:extLst>
              <a:ext uri="{FF2B5EF4-FFF2-40B4-BE49-F238E27FC236}">
                <a16:creationId xmlns:a16="http://schemas.microsoft.com/office/drawing/2014/main" id="{143AD95F-5B65-4DE1-A2E9-500C029494A6}"/>
              </a:ext>
            </a:extLst>
          </p:cNvPr>
          <p:cNvSpPr txBox="1"/>
          <p:nvPr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9758074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664BB95-4F49-4443-9DE9-DFF15C177E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664BB95-4F49-4443-9DE9-DFF15C177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EB1F51-225C-4C8B-8446-8A2EB7FAD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/>
          <a:lstStyle/>
          <a:p>
            <a:endParaRPr lang="en-GB" sz="2000" dirty="0"/>
          </a:p>
        </p:txBody>
      </p:sp>
      <p:sp>
        <p:nvSpPr>
          <p:cNvPr id="25" name="source_637741357009348357" descr="Source">
            <a:extLst>
              <a:ext uri="{FF2B5EF4-FFF2-40B4-BE49-F238E27FC236}">
                <a16:creationId xmlns:a16="http://schemas.microsoft.com/office/drawing/2014/main" id="{ED00B374-C0B4-49F0-B7A2-5CCE5E844EBB}"/>
              </a:ext>
            </a:extLst>
          </p:cNvPr>
          <p:cNvSpPr txBox="1"/>
          <p:nvPr/>
        </p:nvSpPr>
        <p:spPr>
          <a:xfrm>
            <a:off x="609601" y="6583680"/>
            <a:ext cx="2066271" cy="1046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800">
                <a:solidFill>
                  <a:srgbClr val="2E2E38"/>
                </a:solidFill>
                <a:cs typeface="Arial" panose="020B0604020202020204" pitchFamily="34" charset="0"/>
              </a:rPr>
              <a:t>Source: EY-Parthenon research and analysis</a:t>
            </a:r>
          </a:p>
        </p:txBody>
      </p:sp>
      <p:sp>
        <p:nvSpPr>
          <p:cNvPr id="29" name="sectionheader_637407051814700636" descr="Super Headline">
            <a:extLst>
              <a:ext uri="{FF2B5EF4-FFF2-40B4-BE49-F238E27FC236}">
                <a16:creationId xmlns:a16="http://schemas.microsoft.com/office/drawing/2014/main" id="{51CEEAB0-5ED9-45D9-A053-9A0E8C64EB46}"/>
              </a:ext>
            </a:extLst>
          </p:cNvPr>
          <p:cNvSpPr txBox="1"/>
          <p:nvPr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1120962040"/>
      </p:ext>
    </p:extLst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THINKCELLPRESENTATIONDONOTDELETE" val="&lt;?xml version=&quot;1.0&quot; encoding=&quot;UTF-16&quot; standalone=&quot;yes&quot;?&gt;&lt;root reqver=&quot;27037&quot;&gt;&lt;version val=&quot;326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76840140786029875741E+00&quot;&gt;&lt;m_msothmcolidx val=&quot;0&quot;/&gt;&lt;m_rgb r=&quot;E8&quot; g=&quot;F7&quot; b=&quot;FF&quot;/&gt;&lt;/elem&gt;&lt;elem m_fUsage=&quot;2.76617366896520078257E+00&quot;&gt;&lt;m_msothmcolidx val=&quot;0&quot;/&gt;&lt;m_rgb r=&quot;BC&quot; g=&quot;E2&quot; b=&quot;FE&quot;/&gt;&lt;/elem&gt;&lt;elem m_fUsage=&quot;1.87405957219464935903E+00&quot;&gt;&lt;m_msothmcolidx val=&quot;0&quot;/&gt;&lt;m_rgb r=&quot;C7&quot; g=&quot;E7&quot; b=&quot;FE&quot;/&gt;&lt;/elem&gt;&lt;elem m_fUsage=&quot;6.24164869575391079159E-01&quot;&gt;&lt;m_msothmcolidx val=&quot;0&quot;/&gt;&lt;m_rgb r=&quot;03&quot; g=&quot;5F&quot; b=&quot;A3&quot;/&gt;&lt;/elem&gt;&lt;elem m_fUsage=&quot;4.99112614975184387678E-01&quot;&gt;&lt;m_msothmcolidx val=&quot;0&quot;/&gt;&lt;m_rgb r=&quot;C1&quot; g=&quot;F7&quot; b=&quot;F1&quot;/&gt;&lt;/elem&gt;&lt;elem m_fUsage=&quot;2.54012969947783939784E-01&quot;&gt;&lt;m_msothmcolidx val=&quot;0&quot;/&gt;&lt;m_rgb r=&quot;6D&quot; g=&quot;C0&quot; b=&quot;FE&quot;/&gt;&lt;/elem&gt;&lt;elem m_fUsage=&quot;2.51465709469496423445E-01&quot;&gt;&lt;m_msothmcolidx val=&quot;0&quot;/&gt;&lt;m_rgb r=&quot;FF&quot; g=&quot;F0&quot; b=&quot;66&quot;/&gt;&lt;/elem&gt;&lt;elem m_fUsage=&quot;2.28767924549610118801E-01&quot;&gt;&lt;m_msothmcolidx val=&quot;0&quot;/&gt;&lt;m_rgb r=&quot;E0&quot; g=&quot;E0&quot; b=&quot;E0&quot;/&gt;&lt;/elem&gt;&lt;elem m_fUsage=&quot;1.74181139498896048190E-01&quot;&gt;&lt;m_msothmcolidx val=&quot;0&quot;/&gt;&lt;m_rgb r=&quot;03&quot; g=&quot;6D&quot; b=&quot;BC&quot;/&gt;&lt;/elem&gt;&lt;elem m_fUsage=&quot;1.52474096028267197545E-01&quot;&gt;&lt;m_msothmcolidx val=&quot;0&quot;/&gt;&lt;m_rgb r=&quot;CF&quot; g=&quot;EA&quot; b=&quot;FE&quot;/&gt;&lt;/elem&gt;&lt;elem m_fUsage=&quot;1.45695614129466216591E-01&quot;&gt;&lt;m_msothmcolidx val=&quot;0&quot;/&gt;&lt;m_rgb r=&quot;02&quot; g=&quot;35&quot; b=&quot;5B&quot;/&gt;&lt;/elem&gt;&lt;elem m_fUsage=&quot;1.35388287765656423201E-01&quot;&gt;&lt;m_msothmcolidx val=&quot;0&quot;/&gt;&lt;m_rgb r=&quot;04&quot; g=&quot;85&quot; b=&quot;E3&quot;/&gt;&lt;/elem&gt;&lt;elem m_fUsage=&quot;6.62438773581293521842E-02&quot;&gt;&lt;m_msothmcolidx val=&quot;0&quot;/&gt;&lt;m_rgb r=&quot;9C&quot; g=&quot;D5&quot; b=&quot;FE&quot;/&gt;&lt;/elem&gt;&lt;elem m_fUsage=&quot;2.78128389443693807559E-02&quot;&gt;&lt;m_msothmcolidx val=&quot;0&quot;/&gt;&lt;m_rgb r=&quot;F2&quot; g=&quot;FA&quot; b=&quot;FF&quot;/&gt;&lt;/elem&gt;&lt;elem m_fUsage=&quot;2.24940908249075394165E-02&quot;&gt;&lt;m_msothmcolidx val=&quot;0&quot;/&gt;&lt;m_rgb r=&quot;02&quot; g=&quot;51&quot; b=&quot;8A&quot;/&gt;&lt;/elem&gt;&lt;elem m_fUsage=&quot;3.10228812504150571611E-03&quot;&gt;&lt;m_msothmcolidx val=&quot;0&quot;/&gt;&lt;m_rgb r=&quot;E0&quot; g=&quot;F1&quot; b=&quot;FE&quot;/&gt;&lt;/elem&gt;&lt;elem m_fUsage=&quot;2.01612156279330073660E-03&quot;&gt;&lt;m_msothmcolidx val=&quot;0&quot;/&gt;&lt;m_rgb r=&quot;81&quot; g=&quot;C9&quot; b=&quot;FE&quot;/&gt;&lt;/elem&gt;&lt;elem m_fUsage=&quot;1.45557834293069112905E-03&quot;&gt;&lt;m_msothmcolidx val=&quot;0&quot;/&gt;&lt;m_rgb r=&quot;50&quot; g=&quot;B4&quot; b=&quot;FE&quot;/&gt;&lt;/elem&gt;&lt;elem m_fUsage=&quot;1.32277735734868473819E-03&quot;&gt;&lt;m_msothmcolidx val=&quot;0&quot;/&gt;&lt;m_rgb r=&quot;AB&quot; g=&quot;DB&quot; b=&quot;FE&quot;/&gt;&lt;/elem&gt;&lt;elem m_fUsage=&quot;4.22077660280317974468E-04&quot;&gt;&lt;m_msothmcolidx val=&quot;0&quot;/&gt;&lt;m_rgb r=&quot;CD&quot; g=&quot;E9&quot; b=&quot;FE&quot;/&gt;&lt;/elem&gt;&lt;elem m_fUsage=&quot;3.95168835505932392309E-04&quot;&gt;&lt;m_msothmcolidx val=&quot;0&quot;/&gt;&lt;m_rgb r=&quot;B8&quot; g=&quot;E0&quot; b=&quot;FE&quot;/&gt;&lt;/elem&gt;&lt;elem m_fUsage=&quot;3.18926793077413883119E-04&quot;&gt;&lt;m_msothmcolidx val=&quot;0&quot;/&gt;&lt;m_rgb r=&quot;03&quot; g=&quot;65&quot; b=&quot;AD&quot;/&gt;&lt;/elem&gt;&lt;elem m_fUsage=&quot;8.14173516681627535340E-05&quot;&gt;&lt;m_msothmcolidx val=&quot;0&quot;/&gt;&lt;m_rgb r=&quot;02&quot; g=&quot;5B&quot; b=&quot;9D&quot;/&gt;&lt;/elem&gt;&lt;elem m_fUsage=&quot;6.85596132412799054955E-05&quot;&gt;&lt;m_msothmcolidx val=&quot;0&quot;/&gt;&lt;m_rgb r=&quot;03&quot; g=&quot;5A&quot; b=&quot;9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FirTiaoqwCFPtYRZj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4knF61ZDOrdmHjea9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2uPDNvVXalT8mwOze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bqBgNKs2GmtW1wlP5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ASEMBEDDEDCELLS" val="Table 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1,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2,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3,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XJsaJ3oUpKCPd3HVV8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tIkpOaRYeTnn9w6xak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FirTiaoqwCFPtYRZj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4knF61ZDOrdmHjea9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2uPDNvVXalT8mwOze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bqBgNKs2GmtW1wlP5_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ASEMBEDDEDCELLS" val="Table 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1,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2,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3,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heme/theme1.xml><?xml version="1.0" encoding="utf-8"?>
<a:theme xmlns:a="http://schemas.openxmlformats.org/drawingml/2006/main" name="7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arthenon (blank).potx" id="{6F3915A3-34F6-4E05-A837-88FA5D0BCA12}" vid="{92318E15-9301-423F-A160-79C9988B4F9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50B43D1E75A048974A08B25F44A33D" ma:contentTypeVersion="6" ma:contentTypeDescription="Create a new document." ma:contentTypeScope="" ma:versionID="ad4af63d094447213d2bef86cf948aef">
  <xsd:schema xmlns:xsd="http://www.w3.org/2001/XMLSchema" xmlns:xs="http://www.w3.org/2001/XMLSchema" xmlns:p="http://schemas.microsoft.com/office/2006/metadata/properties" xmlns:ns2="84ab4e01-1f9c-4c81-ae0c-5afb6de0b373" xmlns:ns3="7ac98d5d-f73b-4532-b342-36951f147a10" targetNamespace="http://schemas.microsoft.com/office/2006/metadata/properties" ma:root="true" ma:fieldsID="672383a1308068e9b34621b6f210ede3" ns2:_="" ns3:_="">
    <xsd:import namespace="84ab4e01-1f9c-4c81-ae0c-5afb6de0b373"/>
    <xsd:import namespace="7ac98d5d-f73b-4532-b342-36951f147a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ab4e01-1f9c-4c81-ae0c-5afb6de0b3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c98d5d-f73b-4532-b342-36951f147a1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ac98d5d-f73b-4532-b342-36951f147a10">
      <UserInfo>
        <DisplayName>Ashwin Gopalakrishnan</DisplayName>
        <AccountId>12</AccountId>
        <AccountType/>
      </UserInfo>
      <UserInfo>
        <DisplayName>Melanie O'Sullivan</DisplayName>
        <AccountId>13</AccountId>
        <AccountType/>
      </UserInfo>
      <UserInfo>
        <DisplayName>Ben Cooke</DisplayName>
        <AccountId>9</AccountId>
        <AccountType/>
      </UserInfo>
      <UserInfo>
        <DisplayName>Kasia Plewa</DisplayName>
        <AccountId>17</AccountId>
        <AccountType/>
      </UserInfo>
      <UserInfo>
        <DisplayName>Charlie Cheesman</DisplayName>
        <AccountId>14</AccountId>
        <AccountType/>
      </UserInfo>
      <UserInfo>
        <DisplayName>Anna Grotberg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84C8384-E6AF-4BC2-89CD-DA27EA6901C0}">
  <ds:schemaRefs>
    <ds:schemaRef ds:uri="7ac98d5d-f73b-4532-b342-36951f147a10"/>
    <ds:schemaRef ds:uri="84ab4e01-1f9c-4c81-ae0c-5afb6de0b3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8C76F6D-1525-4A53-8176-A383520C3D9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C592826-5685-413C-98A4-EC8E99ABE07C}">
  <ds:schemaRefs>
    <ds:schemaRef ds:uri="http://purl.org/dc/elements/1.1/"/>
    <ds:schemaRef ds:uri="http://schemas.openxmlformats.org/package/2006/metadata/core-properties"/>
    <ds:schemaRef ds:uri="http://purl.org/dc/terms/"/>
    <ds:schemaRef ds:uri="http://purl.org/dc/dcmitype/"/>
    <ds:schemaRef ds:uri="84ab4e01-1f9c-4c81-ae0c-5afb6de0b373"/>
    <ds:schemaRef ds:uri="http://schemas.microsoft.com/office/2006/documentManagement/types"/>
    <ds:schemaRef ds:uri="7ac98d5d-f73b-4532-b342-36951f147a10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47</TotalTime>
  <Words>21</Words>
  <Application>Microsoft Macintosh PowerPoint</Application>
  <PresentationFormat>Widescreen</PresentationFormat>
  <Paragraphs>1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EYInterstate Light</vt:lpstr>
      <vt:lpstr>Wingdings 3</vt:lpstr>
      <vt:lpstr>7_EY-P Widescreen Template 2020</vt:lpstr>
      <vt:lpstr>think-cell Slide</vt:lpstr>
      <vt:lpstr>PowerPoint Presentation</vt:lpstr>
      <vt:lpstr>PowerPoint Presentation</vt:lpstr>
      <vt:lpstr>Executive Summary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1 11 22 _QA HE Strategy_Sprint 2_v2</dc:title>
  <dc:subject/>
  <dc:creator>Ashwin Gopalakrishnan</dc:creator>
  <cp:keywords/>
  <dc:description/>
  <cp:lastModifiedBy>Charlie Cheesman</cp:lastModifiedBy>
  <cp:revision>8</cp:revision>
  <dcterms:created xsi:type="dcterms:W3CDTF">2021-10-06T10:51:33Z</dcterms:created>
  <dcterms:modified xsi:type="dcterms:W3CDTF">2024-01-03T12:47:2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b9c8c59-981d-4e47-a4b7-2afab8fccc3c_Enabled">
    <vt:lpwstr>true</vt:lpwstr>
  </property>
  <property fmtid="{D5CDD505-2E9C-101B-9397-08002B2CF9AE}" pid="3" name="MSIP_Label_cb9c8c59-981d-4e47-a4b7-2afab8fccc3c_SetDate">
    <vt:lpwstr>2020-07-21T11:48:29Z</vt:lpwstr>
  </property>
  <property fmtid="{D5CDD505-2E9C-101B-9397-08002B2CF9AE}" pid="4" name="MSIP_Label_cb9c8c59-981d-4e47-a4b7-2afab8fccc3c_Method">
    <vt:lpwstr>Standard</vt:lpwstr>
  </property>
  <property fmtid="{D5CDD505-2E9C-101B-9397-08002B2CF9AE}" pid="5" name="MSIP_Label_cb9c8c59-981d-4e47-a4b7-2afab8fccc3c_Name">
    <vt:lpwstr>Internal</vt:lpwstr>
  </property>
  <property fmtid="{D5CDD505-2E9C-101B-9397-08002B2CF9AE}" pid="6" name="MSIP_Label_cb9c8c59-981d-4e47-a4b7-2afab8fccc3c_SiteId">
    <vt:lpwstr>5b973f99-77df-4beb-b27d-aa0c70b8482c</vt:lpwstr>
  </property>
  <property fmtid="{D5CDD505-2E9C-101B-9397-08002B2CF9AE}" pid="7" name="MSIP_Label_cb9c8c59-981d-4e47-a4b7-2afab8fccc3c_ActionId">
    <vt:lpwstr>4ef3ebc4-2cd1-4970-b08a-bf01cbc6b350</vt:lpwstr>
  </property>
  <property fmtid="{D5CDD505-2E9C-101B-9397-08002B2CF9AE}" pid="8" name="MSIP_Label_cb9c8c59-981d-4e47-a4b7-2afab8fccc3c_ContentBits">
    <vt:lpwstr>0</vt:lpwstr>
  </property>
  <property fmtid="{D5CDD505-2E9C-101B-9397-08002B2CF9AE}" pid="9" name="ContentTypeId">
    <vt:lpwstr>0x0101002250B43D1E75A048974A08B25F44A33D</vt:lpwstr>
  </property>
  <property fmtid="{D5CDD505-2E9C-101B-9397-08002B2CF9AE}" pid="10" name="WppReportCurrencySymbol">
    <vt:lpwstr>£</vt:lpwstr>
  </property>
  <property fmtid="{D5CDD505-2E9C-101B-9397-08002B2CF9AE}" pid="11" name="WppReportDashboardTitleText">
    <vt:lpwstr>Dashboard</vt:lpwstr>
  </property>
  <property fmtid="{D5CDD505-2E9C-101B-9397-08002B2CF9AE}" pid="12" name="WppReportIsTocUpdateRecommended">
    <vt:bool>true</vt:bool>
  </property>
  <property fmtid="{D5CDD505-2E9C-101B-9397-08002B2CF9AE}" pid="13" name="WppReportShortPageNumberFormat">
    <vt:lpwstr>Page &lt;#&gt;</vt:lpwstr>
  </property>
  <property fmtid="{D5CDD505-2E9C-101B-9397-08002B2CF9AE}" pid="14" name="WppReportLongPageNumberFormat">
    <vt:lpwstr>Page &lt;#&gt; of &lt;PageCount&gt;</vt:lpwstr>
  </property>
  <property fmtid="{D5CDD505-2E9C-101B-9397-08002B2CF9AE}" pid="15" name="WppReportDate">
    <vt:lpwstr/>
  </property>
  <property fmtid="{D5CDD505-2E9C-101B-9397-08002B2CF9AE}" pid="16" name="WppReportDraft">
    <vt:lpwstr>(Draft)</vt:lpwstr>
  </property>
  <property fmtid="{D5CDD505-2E9C-101B-9397-08002B2CF9AE}" pid="17" name="WppReportVersion">
    <vt:lpwstr>Version 1.0</vt:lpwstr>
  </property>
  <property fmtid="{D5CDD505-2E9C-101B-9397-08002B2CF9AE}" pid="18" name="WppReportTocTitleText">
    <vt:lpwstr>Table of contents</vt:lpwstr>
  </property>
  <property fmtid="{D5CDD505-2E9C-101B-9397-08002B2CF9AE}" pid="19" name="WppReportPropertiesLastWrittenToDocument">
    <vt:filetime>2021-12-09T11:28:14Z</vt:filetime>
  </property>
</Properties>
</file>